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7"/>
  </p:notesMasterIdLst>
  <p:sldIdLst>
    <p:sldId id="302" r:id="rId2"/>
    <p:sldId id="507" r:id="rId3"/>
    <p:sldId id="333" r:id="rId4"/>
    <p:sldId id="312" r:id="rId5"/>
    <p:sldId id="505" r:id="rId6"/>
    <p:sldId id="299" r:id="rId7"/>
    <p:sldId id="512" r:id="rId8"/>
    <p:sldId id="511" r:id="rId9"/>
    <p:sldId id="288" r:id="rId10"/>
    <p:sldId id="516" r:id="rId11"/>
    <p:sldId id="515" r:id="rId12"/>
    <p:sldId id="520" r:id="rId13"/>
    <p:sldId id="518" r:id="rId14"/>
    <p:sldId id="513" r:id="rId15"/>
    <p:sldId id="276" r:id="rId16"/>
    <p:sldId id="292" r:id="rId17"/>
    <p:sldId id="517" r:id="rId18"/>
    <p:sldId id="322" r:id="rId19"/>
    <p:sldId id="321" r:id="rId20"/>
    <p:sldId id="323" r:id="rId21"/>
    <p:sldId id="308" r:id="rId22"/>
    <p:sldId id="275" r:id="rId23"/>
    <p:sldId id="272" r:id="rId24"/>
    <p:sldId id="318" r:id="rId25"/>
    <p:sldId id="300" r:id="rId26"/>
    <p:sldId id="301" r:id="rId27"/>
    <p:sldId id="500" r:id="rId28"/>
    <p:sldId id="501" r:id="rId29"/>
    <p:sldId id="506" r:id="rId30"/>
    <p:sldId id="503" r:id="rId31"/>
    <p:sldId id="502" r:id="rId32"/>
    <p:sldId id="504" r:id="rId33"/>
    <p:sldId id="508" r:id="rId34"/>
    <p:sldId id="509" r:id="rId35"/>
    <p:sldId id="510" r:id="rId36"/>
  </p:sldIdLst>
  <p:sldSz cx="12192000" cy="6858000"/>
  <p:notesSz cx="7086600" cy="9372600"/>
  <p:custDataLst>
    <p:tags r:id="rId3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2850A0"/>
    <a:srgbClr val="003399"/>
    <a:srgbClr val="C8D8E6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58" autoAdjust="0"/>
    <p:restoredTop sz="93073" autoAdjust="0"/>
  </p:normalViewPr>
  <p:slideViewPr>
    <p:cSldViewPr showGuides="1">
      <p:cViewPr>
        <p:scale>
          <a:sx n="164" d="100"/>
          <a:sy n="164" d="100"/>
        </p:scale>
        <p:origin x="-16" y="2088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dirty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004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E64D1-E361-4249-981D-9AF084A9377F}"/>
              </a:ext>
            </a:extLst>
          </p:cNvPr>
          <p:cNvSpPr/>
          <p:nvPr userDrawn="1"/>
        </p:nvSpPr>
        <p:spPr>
          <a:xfrm>
            <a:off x="0" y="0"/>
            <a:ext cx="12192000" cy="837000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45000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7" r:id="rId4"/>
    <p:sldLayoutId id="2147483798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682A5A8-CBB8-4C44-AF2F-70C6453AB860}"/>
              </a:ext>
            </a:extLst>
          </p:cNvPr>
          <p:cNvSpPr/>
          <p:nvPr/>
        </p:nvSpPr>
        <p:spPr>
          <a:xfrm>
            <a:off x="7824001" y="1137147"/>
            <a:ext cx="3528000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829398-B287-A64A-948E-DFA34973317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F3863493-B3F6-A448-BA0C-EE7C96C9CA14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48D6845D-0323-584C-BB5A-4A4B309C2F05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783" y="3553207"/>
            <a:ext cx="2138787" cy="156089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847033" y="5744889"/>
            <a:ext cx="8497934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16764" y="3211454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2434" y="1606388"/>
            <a:ext cx="3442560" cy="3168000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5" name="Gruppieren 20">
            <a:extLst>
              <a:ext uri="{FF2B5EF4-FFF2-40B4-BE49-F238E27FC236}">
                <a16:creationId xmlns:a16="http://schemas.microsoft.com/office/drawing/2014/main" id="{8AED75AA-347E-D54B-8FBC-D6C469A13876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48" name="Rechteck: abgerundete Ecken 14">
              <a:extLst>
                <a:ext uri="{FF2B5EF4-FFF2-40B4-BE49-F238E27FC236}">
                  <a16:creationId xmlns:a16="http://schemas.microsoft.com/office/drawing/2014/main" id="{F12A5296-5952-4644-9E45-10EBC677F557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B4P">
              <a:extLst>
                <a:ext uri="{FF2B5EF4-FFF2-40B4-BE49-F238E27FC236}">
                  <a16:creationId xmlns:a16="http://schemas.microsoft.com/office/drawing/2014/main" id="{18D9162D-BD4C-0B4B-8737-C9CD59A74343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50" name="Triangle">
              <a:extLst>
                <a:ext uri="{FF2B5EF4-FFF2-40B4-BE49-F238E27FC236}">
                  <a16:creationId xmlns:a16="http://schemas.microsoft.com/office/drawing/2014/main" id="{58043186-6366-E84C-BE80-2B49FDE54691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6" name="Right Arrow 26">
            <a:extLst>
              <a:ext uri="{FF2B5EF4-FFF2-40B4-BE49-F238E27FC236}">
                <a16:creationId xmlns:a16="http://schemas.microsoft.com/office/drawing/2014/main" id="{EB89E092-C779-6842-9C80-05A79719BC52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ight Arrow 27">
            <a:extLst>
              <a:ext uri="{FF2B5EF4-FFF2-40B4-BE49-F238E27FC236}">
                <a16:creationId xmlns:a16="http://schemas.microsoft.com/office/drawing/2014/main" id="{79D12D36-16A6-204B-8526-A97A1EB02AD9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911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9" name="Rechteck 17">
            <a:extLst>
              <a:ext uri="{FF2B5EF4-FFF2-40B4-BE49-F238E27FC236}">
                <a16:creationId xmlns:a16="http://schemas.microsoft.com/office/drawing/2014/main" id="{44E64DC7-8265-1C4E-89DE-F09A563E0906}"/>
              </a:ext>
            </a:extLst>
          </p:cNvPr>
          <p:cNvSpPr/>
          <p:nvPr/>
        </p:nvSpPr>
        <p:spPr>
          <a:xfrm>
            <a:off x="9058841" y="1718918"/>
            <a:ext cx="259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asy to read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40" name="Rechteck 19">
            <a:extLst>
              <a:ext uri="{FF2B5EF4-FFF2-40B4-BE49-F238E27FC236}">
                <a16:creationId xmlns:a16="http://schemas.microsoft.com/office/drawing/2014/main" id="{26942C29-75C3-4542-904B-6E0818C5F1EC}"/>
              </a:ext>
            </a:extLst>
          </p:cNvPr>
          <p:cNvSpPr/>
          <p:nvPr/>
        </p:nvSpPr>
        <p:spPr>
          <a:xfrm>
            <a:off x="9047995" y="2493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and flexible function librar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just small number of loo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nd variables needed for coding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9E669716-794D-DE4C-925B-A1D5EDF5C59C}"/>
              </a:ext>
            </a:extLst>
          </p:cNvPr>
          <p:cNvSpPr/>
          <p:nvPr/>
        </p:nvSpPr>
        <p:spPr>
          <a:xfrm>
            <a:off x="9065166" y="3177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43" name="Rechteck 29">
            <a:extLst>
              <a:ext uri="{FF2B5EF4-FFF2-40B4-BE49-F238E27FC236}">
                <a16:creationId xmlns:a16="http://schemas.microsoft.com/office/drawing/2014/main" id="{51564DEC-F5C5-524B-8791-A3BA02F20C91}"/>
              </a:ext>
            </a:extLst>
          </p:cNvPr>
          <p:cNvSpPr/>
          <p:nvPr/>
        </p:nvSpPr>
        <p:spPr>
          <a:xfrm>
            <a:off x="9032049" y="3933393"/>
            <a:ext cx="252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C85FA7E-4CC6-4E40-8AF5-7504EC3636F2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8 Statements</a:t>
            </a:r>
            <a:r>
              <a:rPr lang="en-US" b="1">
                <a:solidFill>
                  <a:schemeClr val="bg1">
                    <a:lumMod val="50000"/>
                  </a:schemeClr>
                </a:solidFill>
              </a:rPr>
              <a:t>.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4967424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9048000" y="5013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3EE4C5-F45C-9442-92DD-0DE614C56CBD}"/>
              </a:ext>
            </a:extLst>
          </p:cNvPr>
          <p:cNvSpPr/>
          <p:nvPr/>
        </p:nvSpPr>
        <p:spPr>
          <a:xfrm>
            <a:off x="1648737" y="4626941"/>
            <a:ext cx="7255263" cy="1300967"/>
          </a:xfrm>
          <a:prstGeom prst="rect">
            <a:avLst/>
          </a:prstGeom>
          <a:solidFill>
            <a:srgbClr val="3264C8">
              <a:alpha val="1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32C5C7-A37C-7E48-88F8-E483FF4DDCA7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8 Statements.         Formatting: 5 Statement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197536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ombine Online Stock Data: SP 500 and NASDAQ 100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878250" y="5517000"/>
            <a:ext cx="7434000" cy="12754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2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3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CB45BB-5949-104E-A0C0-6D4C33ECC84C}"/>
              </a:ext>
            </a:extLst>
          </p:cNvPr>
          <p:cNvSpPr/>
          <p:nvPr/>
        </p:nvSpPr>
        <p:spPr>
          <a:xfrm>
            <a:off x="7824001" y="113714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A9F7DA-C2D9-764D-86E6-A3D61619527C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D09CE7B2-DA47-2E4F-AD87-46B589C2F56E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Triangle 18">
            <a:extLst>
              <a:ext uri="{FF2B5EF4-FFF2-40B4-BE49-F238E27FC236}">
                <a16:creationId xmlns:a16="http://schemas.microsoft.com/office/drawing/2014/main" id="{D1A6B0E9-FAED-C049-952F-CAB3C4C7039F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0" name="Gruppieren 20">
            <a:extLst>
              <a:ext uri="{FF2B5EF4-FFF2-40B4-BE49-F238E27FC236}">
                <a16:creationId xmlns:a16="http://schemas.microsoft.com/office/drawing/2014/main" id="{A234161B-3169-4D49-8857-16809565A873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1" name="Rechteck: abgerundete Ecken 14">
              <a:extLst>
                <a:ext uri="{FF2B5EF4-FFF2-40B4-BE49-F238E27FC236}">
                  <a16:creationId xmlns:a16="http://schemas.microsoft.com/office/drawing/2014/main" id="{F560B1E9-DCD5-9643-A129-594439210202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B4P">
              <a:extLst>
                <a:ext uri="{FF2B5EF4-FFF2-40B4-BE49-F238E27FC236}">
                  <a16:creationId xmlns:a16="http://schemas.microsoft.com/office/drawing/2014/main" id="{960EAEE4-091A-ED40-9BEA-0322F8FEE6F9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23" name="Triangle">
              <a:extLst>
                <a:ext uri="{FF2B5EF4-FFF2-40B4-BE49-F238E27FC236}">
                  <a16:creationId xmlns:a16="http://schemas.microsoft.com/office/drawing/2014/main" id="{709D0031-309C-8643-BD26-36F1B450235E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24" name="Right Arrow 26">
            <a:extLst>
              <a:ext uri="{FF2B5EF4-FFF2-40B4-BE49-F238E27FC236}">
                <a16:creationId xmlns:a16="http://schemas.microsoft.com/office/drawing/2014/main" id="{9E501804-E673-8D4D-8A7D-1EC19365DFFD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ight Arrow 27">
            <a:extLst>
              <a:ext uri="{FF2B5EF4-FFF2-40B4-BE49-F238E27FC236}">
                <a16:creationId xmlns:a16="http://schemas.microsoft.com/office/drawing/2014/main" id="{9DB10D56-CF9A-9F42-86F6-2AF8938458F9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7" name="Grafik 5">
            <a:extLst>
              <a:ext uri="{FF2B5EF4-FFF2-40B4-BE49-F238E27FC236}">
                <a16:creationId xmlns:a16="http://schemas.microsoft.com/office/drawing/2014/main" id="{0E8168F4-97E7-0343-9AF7-D523EE65A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209" y="2095798"/>
            <a:ext cx="4328573" cy="223949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126789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E20C7C10-E57A-9148-8EA4-A043D0D7DC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79" y="1328504"/>
            <a:ext cx="2550621" cy="224467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02948E6F-A4FD-5640-ABD2-BA6FE5C82E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91" y="2834012"/>
            <a:ext cx="2611412" cy="228419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33668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nasdaq100, sp500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56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815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325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679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28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78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65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011C737C-243B-6B4B-B6A0-3D28B22868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51B66AB-201B-E94B-8F7F-6B889968202C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12 Statements.         Formatting: 6 Statement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16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9 Statements.         Party-specific coloring: 6 Statements.</a:t>
            </a:r>
            <a:endParaRPr lang="en-US" b="1" dirty="0"/>
          </a:p>
        </p:txBody>
      </p:sp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141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421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005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494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4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1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0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9647999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literal([.]), { '[?]'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{ Party Name, 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{ Democratic, blue}, { Republican, red }, { Federalist,  coral }, },{ Unaffiliated, gray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{ "Democratic- Republican", light green },{ Whig, yellow }, { National Union, 	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1ECED126-0CB4-9143-B5A3-B024619D4638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>
                <a:solidFill>
                  <a:srgbClr val="3264C8"/>
                </a:solidFill>
              </a:rPr>
              <a:t>B4P Example #3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65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845000"/>
            <a:ext cx="11232000" cy="2664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Real-World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Use</a:t>
            </a:r>
            <a:r>
              <a:rPr lang="de-CH" sz="5400" dirty="0">
                <a:solidFill>
                  <a:srgbClr val="3264C8"/>
                </a:solidFill>
              </a:rPr>
              <a:t> Cases</a:t>
            </a:r>
          </a:p>
        </p:txBody>
      </p:sp>
    </p:spTree>
    <p:extLst>
      <p:ext uri="{BB962C8B-B14F-4D97-AF65-F5344CB8AC3E}">
        <p14:creationId xmlns:p14="http://schemas.microsoft.com/office/powerpoint/2010/main" val="13657432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187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639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 B4P Data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347003" y="1390175"/>
            <a:ext cx="311699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600" dirty="0">
                <a:latin typeface="+mj-lt"/>
              </a:rPr>
              <a:t>B4P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02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18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34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350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02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8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4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50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35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965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6995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29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6223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5567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00000" y="1220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00000" y="1868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Data Integration and Analytics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00000" y="37589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00000" y="25298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00000" y="31915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3264C8"/>
                </a:solidFill>
              </a:rPr>
              <a:t>Table of Contents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okup data from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800" dirty="0">
                <a:solidFill>
                  <a:schemeClr val="tx1"/>
                </a:solidFill>
              </a:rPr>
              <a:t>   reference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6" y="3353721"/>
            <a:ext cx="906987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800" dirty="0">
                <a:solidFill>
                  <a:schemeClr val="tx1"/>
                </a:solidFill>
              </a:rPr>
              <a:t>   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ounded Rectangle">
            <a:extLst>
              <a:ext uri="{FF2B5EF4-FFF2-40B4-BE49-F238E27FC236}">
                <a16:creationId xmlns:a16="http://schemas.microsoft.com/office/drawing/2014/main" id="{39A2EBE0-7F1C-8D49-A651-7CB2ED016035}"/>
              </a:ext>
            </a:extLst>
          </p:cNvPr>
          <p:cNvSpPr/>
          <p:nvPr/>
        </p:nvSpPr>
        <p:spPr>
          <a:xfrm>
            <a:off x="1499247" y="2419113"/>
            <a:ext cx="9276754" cy="2519165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812099" y="550595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992008" y="1352757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608845" y="2397971"/>
            <a:ext cx="766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200" b="1" dirty="0">
                <a:solidFill>
                  <a:srgbClr val="3264C8"/>
                </a:solidFill>
              </a:rPr>
              <a:t>B4P</a:t>
            </a:r>
            <a:endParaRPr lang="en-US" sz="2200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cxnSp>
        <p:nvCxnSpPr>
          <p:cNvPr id="104" name="Gerade Verbindung mit Pfeil 55">
            <a:extLst>
              <a:ext uri="{FF2B5EF4-FFF2-40B4-BE49-F238E27FC236}">
                <a16:creationId xmlns:a16="http://schemas.microsoft.com/office/drawing/2014/main" id="{ACCB61FC-F429-9D41-93D4-FFDE0EF5DB06}"/>
              </a:ext>
            </a:extLst>
          </p:cNvPr>
          <p:cNvCxnSpPr>
            <a:cxnSpLocks/>
          </p:cNvCxnSpPr>
          <p:nvPr/>
        </p:nvCxnSpPr>
        <p:spPr>
          <a:xfrm>
            <a:off x="1632000" y="2804375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F4E29F8D-1A1C-304E-8A9C-3E5B129066D6}"/>
              </a:ext>
            </a:extLst>
          </p:cNvPr>
          <p:cNvGrpSpPr/>
          <p:nvPr/>
        </p:nvGrpSpPr>
        <p:grpSpPr>
          <a:xfrm>
            <a:off x="10273679" y="2180800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62BE03CF-5BC1-4846-B5DA-230F97CA43BA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AF1F22E2-38AF-004B-BF99-EEA617B6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9" name="Rechteck 32">
            <a:extLst>
              <a:ext uri="{FF2B5EF4-FFF2-40B4-BE49-F238E27FC236}">
                <a16:creationId xmlns:a16="http://schemas.microsoft.com/office/drawing/2014/main" id="{4DE1241E-D00C-734D-B396-8F6D84947B9E}"/>
              </a:ext>
            </a:extLst>
          </p:cNvPr>
          <p:cNvSpPr/>
          <p:nvPr/>
        </p:nvSpPr>
        <p:spPr>
          <a:xfrm>
            <a:off x="307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10" name="Rechteck 33">
            <a:extLst>
              <a:ext uri="{FF2B5EF4-FFF2-40B4-BE49-F238E27FC236}">
                <a16:creationId xmlns:a16="http://schemas.microsoft.com/office/drawing/2014/main" id="{6C3A6397-91F9-A74A-8FD0-EACB19BFFB80}"/>
              </a:ext>
            </a:extLst>
          </p:cNvPr>
          <p:cNvSpPr/>
          <p:nvPr/>
        </p:nvSpPr>
        <p:spPr>
          <a:xfrm>
            <a:off x="422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11" name="Rechteck 34">
            <a:extLst>
              <a:ext uri="{FF2B5EF4-FFF2-40B4-BE49-F238E27FC236}">
                <a16:creationId xmlns:a16="http://schemas.microsoft.com/office/drawing/2014/main" id="{0FF6DC4D-C874-3D4A-95E6-E06F66D9648E}"/>
              </a:ext>
            </a:extLst>
          </p:cNvPr>
          <p:cNvSpPr/>
          <p:nvPr/>
        </p:nvSpPr>
        <p:spPr>
          <a:xfrm>
            <a:off x="5376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12" name="Rechteck 35">
            <a:extLst>
              <a:ext uri="{FF2B5EF4-FFF2-40B4-BE49-F238E27FC236}">
                <a16:creationId xmlns:a16="http://schemas.microsoft.com/office/drawing/2014/main" id="{FF5ECBD4-A9B8-0449-BDC6-6D4D82DB552C}"/>
              </a:ext>
            </a:extLst>
          </p:cNvPr>
          <p:cNvSpPr/>
          <p:nvPr/>
        </p:nvSpPr>
        <p:spPr>
          <a:xfrm>
            <a:off x="6528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13" name="Rechteck 36">
            <a:extLst>
              <a:ext uri="{FF2B5EF4-FFF2-40B4-BE49-F238E27FC236}">
                <a16:creationId xmlns:a16="http://schemas.microsoft.com/office/drawing/2014/main" id="{D6ED65DE-A721-0F4A-AD46-B0B6A173F6F1}"/>
              </a:ext>
            </a:extLst>
          </p:cNvPr>
          <p:cNvSpPr/>
          <p:nvPr/>
        </p:nvSpPr>
        <p:spPr>
          <a:xfrm>
            <a:off x="7680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4" name="Rechteck 37">
            <a:extLst>
              <a:ext uri="{FF2B5EF4-FFF2-40B4-BE49-F238E27FC236}">
                <a16:creationId xmlns:a16="http://schemas.microsoft.com/office/drawing/2014/main" id="{F7161A5A-51FB-D343-BF0B-60658FEB0BCA}"/>
              </a:ext>
            </a:extLst>
          </p:cNvPr>
          <p:cNvSpPr/>
          <p:nvPr/>
        </p:nvSpPr>
        <p:spPr>
          <a:xfrm>
            <a:off x="883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15" name="Rechteck 38">
            <a:extLst>
              <a:ext uri="{FF2B5EF4-FFF2-40B4-BE49-F238E27FC236}">
                <a16:creationId xmlns:a16="http://schemas.microsoft.com/office/drawing/2014/main" id="{34090DF8-983A-9045-ABA0-D7CB10B077B8}"/>
              </a:ext>
            </a:extLst>
          </p:cNvPr>
          <p:cNvSpPr/>
          <p:nvPr/>
        </p:nvSpPr>
        <p:spPr>
          <a:xfrm>
            <a:off x="998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18" name="Pfeil: nach rechts 95">
            <a:extLst>
              <a:ext uri="{FF2B5EF4-FFF2-40B4-BE49-F238E27FC236}">
                <a16:creationId xmlns:a16="http://schemas.microsoft.com/office/drawing/2014/main" id="{563A9EB0-0355-F646-8472-872589EE4C35}"/>
              </a:ext>
            </a:extLst>
          </p:cNvPr>
          <p:cNvSpPr/>
          <p:nvPr/>
        </p:nvSpPr>
        <p:spPr>
          <a:xfrm rot="5400000">
            <a:off x="5718820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8181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389940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77094" y="4738228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D3373B44-11E2-4D45-98DF-A3A1CDA5F99D}"/>
              </a:ext>
            </a:extLst>
          </p:cNvPr>
          <p:cNvGrpSpPr/>
          <p:nvPr/>
        </p:nvGrpSpPr>
        <p:grpSpPr>
          <a:xfrm>
            <a:off x="10239764" y="2180793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08EF6122-1FA3-2244-9250-70304ADD26A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154424E7-4586-F143-93EC-CE5965F60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2B25407-4F3E-F348-9071-4853E45C000F}"/>
              </a:ext>
            </a:extLst>
          </p:cNvPr>
          <p:cNvGrpSpPr/>
          <p:nvPr/>
        </p:nvGrpSpPr>
        <p:grpSpPr>
          <a:xfrm>
            <a:off x="3038085" y="2576680"/>
            <a:ext cx="7128000" cy="216000"/>
            <a:chOff x="3072000" y="2576687"/>
            <a:chExt cx="7128000" cy="216000"/>
          </a:xfrm>
        </p:grpSpPr>
        <p:sp>
          <p:nvSpPr>
            <p:cNvPr id="110" name="Rechteck 32">
              <a:extLst>
                <a:ext uri="{FF2B5EF4-FFF2-40B4-BE49-F238E27FC236}">
                  <a16:creationId xmlns:a16="http://schemas.microsoft.com/office/drawing/2014/main" id="{03326F91-31FC-6249-B1BC-10294C722E0B}"/>
                </a:ext>
              </a:extLst>
            </p:cNvPr>
            <p:cNvSpPr/>
            <p:nvPr/>
          </p:nvSpPr>
          <p:spPr>
            <a:xfrm>
              <a:off x="307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2</a:t>
              </a:r>
            </a:p>
          </p:txBody>
        </p:sp>
        <p:sp>
          <p:nvSpPr>
            <p:cNvPr id="111" name="Rechteck 33">
              <a:extLst>
                <a:ext uri="{FF2B5EF4-FFF2-40B4-BE49-F238E27FC236}">
                  <a16:creationId xmlns:a16="http://schemas.microsoft.com/office/drawing/2014/main" id="{51BA2408-F0FB-344B-AE6B-08DD02243AB9}"/>
                </a:ext>
              </a:extLst>
            </p:cNvPr>
            <p:cNvSpPr/>
            <p:nvPr/>
          </p:nvSpPr>
          <p:spPr>
            <a:xfrm>
              <a:off x="422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3</a:t>
              </a:r>
            </a:p>
          </p:txBody>
        </p:sp>
        <p:sp>
          <p:nvSpPr>
            <p:cNvPr id="112" name="Rechteck 34">
              <a:extLst>
                <a:ext uri="{FF2B5EF4-FFF2-40B4-BE49-F238E27FC236}">
                  <a16:creationId xmlns:a16="http://schemas.microsoft.com/office/drawing/2014/main" id="{30D58178-62C1-DF40-8046-707E06D94A96}"/>
                </a:ext>
              </a:extLst>
            </p:cNvPr>
            <p:cNvSpPr/>
            <p:nvPr/>
          </p:nvSpPr>
          <p:spPr>
            <a:xfrm>
              <a:off x="5376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4</a:t>
              </a:r>
            </a:p>
          </p:txBody>
        </p:sp>
        <p:sp>
          <p:nvSpPr>
            <p:cNvPr id="113" name="Rechteck 35">
              <a:extLst>
                <a:ext uri="{FF2B5EF4-FFF2-40B4-BE49-F238E27FC236}">
                  <a16:creationId xmlns:a16="http://schemas.microsoft.com/office/drawing/2014/main" id="{C38BEE01-9BD9-6449-9706-570BD7291C06}"/>
                </a:ext>
              </a:extLst>
            </p:cNvPr>
            <p:cNvSpPr/>
            <p:nvPr/>
          </p:nvSpPr>
          <p:spPr>
            <a:xfrm>
              <a:off x="6528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5</a:t>
              </a:r>
            </a:p>
          </p:txBody>
        </p:sp>
        <p:sp>
          <p:nvSpPr>
            <p:cNvPr id="114" name="Rechteck 36">
              <a:extLst>
                <a:ext uri="{FF2B5EF4-FFF2-40B4-BE49-F238E27FC236}">
                  <a16:creationId xmlns:a16="http://schemas.microsoft.com/office/drawing/2014/main" id="{312785E0-F84A-474C-8A41-3942577D640E}"/>
                </a:ext>
              </a:extLst>
            </p:cNvPr>
            <p:cNvSpPr/>
            <p:nvPr/>
          </p:nvSpPr>
          <p:spPr>
            <a:xfrm>
              <a:off x="7680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6</a:t>
              </a:r>
            </a:p>
          </p:txBody>
        </p:sp>
        <p:sp>
          <p:nvSpPr>
            <p:cNvPr id="115" name="Rechteck 37">
              <a:extLst>
                <a:ext uri="{FF2B5EF4-FFF2-40B4-BE49-F238E27FC236}">
                  <a16:creationId xmlns:a16="http://schemas.microsoft.com/office/drawing/2014/main" id="{E499F351-4F41-D84A-A4CF-820C76E30528}"/>
                </a:ext>
              </a:extLst>
            </p:cNvPr>
            <p:cNvSpPr/>
            <p:nvPr/>
          </p:nvSpPr>
          <p:spPr>
            <a:xfrm>
              <a:off x="883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7</a:t>
              </a:r>
            </a:p>
          </p:txBody>
        </p:sp>
        <p:sp>
          <p:nvSpPr>
            <p:cNvPr id="116" name="Rechteck 38">
              <a:extLst>
                <a:ext uri="{FF2B5EF4-FFF2-40B4-BE49-F238E27FC236}">
                  <a16:creationId xmlns:a16="http://schemas.microsoft.com/office/drawing/2014/main" id="{9B698103-FD3E-5548-9FC4-8D03A9AF4431}"/>
                </a:ext>
              </a:extLst>
            </p:cNvPr>
            <p:cNvSpPr/>
            <p:nvPr/>
          </p:nvSpPr>
          <p:spPr>
            <a:xfrm>
              <a:off x="998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00282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88000" y="2375277"/>
            <a:ext cx="9321516" cy="2777299"/>
          </a:xfrm>
          <a:prstGeom prst="roundRect">
            <a:avLst>
              <a:gd name="adj" fmla="val 6014"/>
            </a:avLst>
          </a:prstGeom>
          <a:solidFill>
            <a:srgbClr val="3264C8">
              <a:alpha val="7000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718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53960" y="583609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67984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50801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7998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5400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1998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7198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23984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6263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60000" y="3506096"/>
            <a:ext cx="1080016" cy="15006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data from: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Excel, CSV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HTML, XML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data from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web link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data from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arch and Identify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relevant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olv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iminat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84000" y="3506096"/>
            <a:ext cx="864000" cy="15006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heck and 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headers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lore and 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ter out data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number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rge data from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solidate within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commonalities 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trieve data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new calculated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rich th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rt and arrang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style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s and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ve data to: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cel, CSV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ML, XML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itiate databas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igger other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ftware that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data is 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851966" y="2186382"/>
            <a:ext cx="360000" cy="384569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736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246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80008" y="1197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5067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Rechteck 30">
            <a:extLst>
              <a:ext uri="{FF2B5EF4-FFF2-40B4-BE49-F238E27FC236}">
                <a16:creationId xmlns:a16="http://schemas.microsoft.com/office/drawing/2014/main" id="{861F94D5-4A60-D141-9FCD-382DAFD638CF}"/>
              </a:ext>
            </a:extLst>
          </p:cNvPr>
          <p:cNvSpPr/>
          <p:nvPr/>
        </p:nvSpPr>
        <p:spPr>
          <a:xfrm>
            <a:off x="2064000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05" name="Rechteck 32">
            <a:extLst>
              <a:ext uri="{FF2B5EF4-FFF2-40B4-BE49-F238E27FC236}">
                <a16:creationId xmlns:a16="http://schemas.microsoft.com/office/drawing/2014/main" id="{6DA1CD5B-6B39-F74C-A31B-9EDD44547520}"/>
              </a:ext>
            </a:extLst>
          </p:cNvPr>
          <p:cNvSpPr/>
          <p:nvPr/>
        </p:nvSpPr>
        <p:spPr>
          <a:xfrm>
            <a:off x="303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06" name="Rechteck 33">
            <a:extLst>
              <a:ext uri="{FF2B5EF4-FFF2-40B4-BE49-F238E27FC236}">
                <a16:creationId xmlns:a16="http://schemas.microsoft.com/office/drawing/2014/main" id="{381E97E3-259E-274E-A2C6-B5742D71DE2E}"/>
              </a:ext>
            </a:extLst>
          </p:cNvPr>
          <p:cNvSpPr/>
          <p:nvPr/>
        </p:nvSpPr>
        <p:spPr>
          <a:xfrm>
            <a:off x="419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07" name="Rechteck 34">
            <a:extLst>
              <a:ext uri="{FF2B5EF4-FFF2-40B4-BE49-F238E27FC236}">
                <a16:creationId xmlns:a16="http://schemas.microsoft.com/office/drawing/2014/main" id="{2E8D1784-996C-8A4B-80E2-458021ADA55A}"/>
              </a:ext>
            </a:extLst>
          </p:cNvPr>
          <p:cNvSpPr/>
          <p:nvPr/>
        </p:nvSpPr>
        <p:spPr>
          <a:xfrm>
            <a:off x="5343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08" name="Rechteck 35">
            <a:extLst>
              <a:ext uri="{FF2B5EF4-FFF2-40B4-BE49-F238E27FC236}">
                <a16:creationId xmlns:a16="http://schemas.microsoft.com/office/drawing/2014/main" id="{7B1F8EB6-0422-194B-A4E0-3BF2513043FF}"/>
              </a:ext>
            </a:extLst>
          </p:cNvPr>
          <p:cNvSpPr/>
          <p:nvPr/>
        </p:nvSpPr>
        <p:spPr>
          <a:xfrm>
            <a:off x="6495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09" name="Rechteck 36">
            <a:extLst>
              <a:ext uri="{FF2B5EF4-FFF2-40B4-BE49-F238E27FC236}">
                <a16:creationId xmlns:a16="http://schemas.microsoft.com/office/drawing/2014/main" id="{49B5E6E6-4AF0-DA49-B7F7-089D1844784E}"/>
              </a:ext>
            </a:extLst>
          </p:cNvPr>
          <p:cNvSpPr/>
          <p:nvPr/>
        </p:nvSpPr>
        <p:spPr>
          <a:xfrm>
            <a:off x="7647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0" name="Rechteck 37">
            <a:extLst>
              <a:ext uri="{FF2B5EF4-FFF2-40B4-BE49-F238E27FC236}">
                <a16:creationId xmlns:a16="http://schemas.microsoft.com/office/drawing/2014/main" id="{3C57B057-971B-1241-8A51-A3AFB332657C}"/>
              </a:ext>
            </a:extLst>
          </p:cNvPr>
          <p:cNvSpPr/>
          <p:nvPr/>
        </p:nvSpPr>
        <p:spPr>
          <a:xfrm>
            <a:off x="879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57" name="Rechteck 38">
            <a:extLst>
              <a:ext uri="{FF2B5EF4-FFF2-40B4-BE49-F238E27FC236}">
                <a16:creationId xmlns:a16="http://schemas.microsoft.com/office/drawing/2014/main" id="{435294FB-BF62-134F-A747-0D60313835D3}"/>
              </a:ext>
            </a:extLst>
          </p:cNvPr>
          <p:cNvSpPr/>
          <p:nvPr/>
        </p:nvSpPr>
        <p:spPr>
          <a:xfrm>
            <a:off x="995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58" name="Rectangle 79">
            <a:extLst>
              <a:ext uri="{FF2B5EF4-FFF2-40B4-BE49-F238E27FC236}">
                <a16:creationId xmlns:a16="http://schemas.microsoft.com/office/drawing/2014/main" id="{1C0D5AAE-B6FE-BE44-91CC-68606458BF63}"/>
              </a:ext>
            </a:extLst>
          </p:cNvPr>
          <p:cNvSpPr/>
          <p:nvPr/>
        </p:nvSpPr>
        <p:spPr>
          <a:xfrm>
            <a:off x="5609945" y="2361833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549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840000" y="1269000"/>
            <a:ext cx="2160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840000" y="2781000"/>
            <a:ext cx="2160000" cy="165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SAS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840000" y="4725000"/>
            <a:ext cx="2160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3144000" y="5877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3144000" y="4149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Resulting code cannot be understood, shared, managed,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3144000" y="2205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3144000" y="1341000"/>
            <a:ext cx="7920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3144000" y="2781000"/>
            <a:ext cx="784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skills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3144000" y="4797000"/>
            <a:ext cx="7344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urrent methods of analytics automation are complex, expensive, and opaque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529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43310"/>
            <a:ext cx="9432000" cy="2703555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lution Overview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072000" y="1341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8821" y="203079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874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269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261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261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179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261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251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258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y files to impor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ftware that data i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736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70987" y="1431154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268" y="507824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776025" y="251714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57476" y="2545781"/>
            <a:ext cx="446524" cy="52321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06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319276" y="4732702"/>
            <a:ext cx="5133762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: </a:t>
            </a:r>
            <a:r>
              <a:rPr lang="en-US" sz="1200" dirty="0">
                <a:solidFill>
                  <a:schemeClr val="tx1"/>
                </a:solidFill>
              </a:rPr>
              <a:t> Over 800 powerful functions built-in, with easy extensibility for new func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 eliminates need for complex code, loops, or other administrative overhead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264000" y="4732702"/>
            <a:ext cx="5184000" cy="2040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Fast</a:t>
            </a:r>
            <a:r>
              <a:rPr lang="en-US" sz="1100" dirty="0">
                <a:solidFill>
                  <a:schemeClr val="tx1"/>
                </a:solidFill>
              </a:rPr>
              <a:t>:  Compiled and runs ‘on the metal’ to the peak performance of the very latest 8-core and 12-core processors from Intel and Apple (M1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Light weight</a:t>
            </a:r>
            <a:r>
              <a:rPr lang="en-US" sz="1100" dirty="0">
                <a:solidFill>
                  <a:schemeClr val="tx1"/>
                </a:solidFill>
              </a:rPr>
              <a:t>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Secure. </a:t>
            </a:r>
            <a:r>
              <a:rPr lang="en-US" sz="1100" dirty="0">
                <a:solidFill>
                  <a:schemeClr val="tx1"/>
                </a:solidFill>
              </a:rPr>
              <a:t>No connection to any ‘cloud service’. Runs 100% on standalone personal computer fully isolated within the corporate network, thus allowing safe use on highly confidential corporate and financial information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 Reliability. </a:t>
            </a:r>
            <a:r>
              <a:rPr lang="en-US" sz="1100" dirty="0">
                <a:solidFill>
                  <a:schemeClr val="tx1"/>
                </a:solidFill>
              </a:rPr>
              <a:t>No Dependencies.  Once installed there is no means for software to ‘break’ as it has no dependencie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Many data formats supported </a:t>
            </a:r>
            <a:r>
              <a:rPr lang="en-US" sz="1100" dirty="0">
                <a:solidFill>
                  <a:schemeClr val="tx1"/>
                </a:solidFill>
              </a:rPr>
              <a:t>(Excel, HTML, XML, JSON, text files, etc., full UNICOD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1775800" y="1197000"/>
            <a:ext cx="21604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554157" y="1197000"/>
            <a:ext cx="2664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176" y="2560250"/>
            <a:ext cx="1842625" cy="192439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389FFD4-F702-FD4B-9D76-71BC8C3A1E4F}"/>
              </a:ext>
            </a:extLst>
          </p:cNvPr>
          <p:cNvSpPr/>
          <p:nvPr/>
        </p:nvSpPr>
        <p:spPr>
          <a:xfrm>
            <a:off x="6168000" y="1773000"/>
            <a:ext cx="5453793" cy="461665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designed specifically for tabular data, and has over 800 functions built in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C65F95-C9B1-8543-971E-07350D898C01}"/>
              </a:ext>
            </a:extLst>
          </p:cNvPr>
          <p:cNvSpPr/>
          <p:nvPr/>
        </p:nvSpPr>
        <p:spPr>
          <a:xfrm>
            <a:off x="368510" y="1665866"/>
            <a:ext cx="4974979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Engine is designed for extreme performance managing Big Data – processing tens of millions of rows of data in seconds on commodity personal computers.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5D6C6728-43A3-6946-879B-78D1EAA425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521" y="3010997"/>
            <a:ext cx="5615272" cy="117640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49E86D-8A8F-A845-A934-C9218AD2B563}"/>
              </a:ext>
            </a:extLst>
          </p:cNvPr>
          <p:cNvCxnSpPr>
            <a:cxnSpLocks/>
          </p:cNvCxnSpPr>
          <p:nvPr/>
        </p:nvCxnSpPr>
        <p:spPr>
          <a:xfrm>
            <a:off x="5736000" y="837000"/>
            <a:ext cx="0" cy="6021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1">
            <a:extLst>
              <a:ext uri="{FF2B5EF4-FFF2-40B4-BE49-F238E27FC236}">
                <a16:creationId xmlns:a16="http://schemas.microsoft.com/office/drawing/2014/main" id="{EF14AEDB-83B4-7F4F-81B6-5FD152163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ain Component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A0945-3580-124C-97B5-638A3AF38F9A}"/>
              </a:ext>
            </a:extLst>
          </p:cNvPr>
          <p:cNvSpPr/>
          <p:nvPr/>
        </p:nvSpPr>
        <p:spPr>
          <a:xfrm>
            <a:off x="854927" y="1183287"/>
            <a:ext cx="5961073" cy="4045712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596533" y="6072411"/>
            <a:ext cx="6377484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B4P is highest in both Code Performance and Code Efficiency, </a:t>
            </a:r>
          </a:p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providing complete solutions with less than 10-20 lines of code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229000"/>
            <a:ext cx="5976000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229000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Efficienc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237129"/>
            <a:ext cx="7129" cy="3991871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013000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183286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975741" y="3167858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Performanc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711098" y="4169605"/>
            <a:ext cx="1343031" cy="875594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142729" y="1903641"/>
            <a:ext cx="929590" cy="98262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627640" y="1466783"/>
            <a:ext cx="936719" cy="825127"/>
          </a:xfrm>
          <a:prstGeom prst="roundRect">
            <a:avLst/>
          </a:prstGeom>
          <a:solidFill>
            <a:srgbClr val="3264C8">
              <a:alpha val="809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 err="1">
                <a:solidFill>
                  <a:schemeClr val="bg1"/>
                </a:solidFill>
              </a:rPr>
              <a:t>B4P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993799" y="2394956"/>
            <a:ext cx="1098158" cy="880907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s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389739" y="2088735"/>
            <a:ext cx="4320000" cy="436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erformance Big Data Process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de Performance: Processing very large tables and variables is B4P’s core functional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de Efficiency: Single statements replace need for 10-50 lines of code in other language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: Delivers solution with minimal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ximum functionality with fewest lines of code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ssign variable and table names as you wish, including spaces and special characters, directly and indirect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ynamically build up variable structures and reshape them when needed.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Simplicity of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grams are Portable across all Platfor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 are fully portable, sharable, and executable across all operating systems (Windows, Linux, MacOS) and all computer architecture (Intel x32, x64; ARM M1), assuring maximum re-use across the enterprise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2568000" y="5454143"/>
            <a:ext cx="23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develop and deploy solution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 rot="16200000">
            <a:off x="315490" y="310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run)</a:t>
            </a:r>
          </a:p>
        </p:txBody>
      </p:sp>
      <p:grpSp>
        <p:nvGrpSpPr>
          <p:cNvPr id="29" name="Gruppieren 10">
            <a:extLst>
              <a:ext uri="{FF2B5EF4-FFF2-40B4-BE49-F238E27FC236}">
                <a16:creationId xmlns:a16="http://schemas.microsoft.com/office/drawing/2014/main" id="{901A4561-5B3A-3142-B0EA-8BCFCCD7439B}"/>
              </a:ext>
            </a:extLst>
          </p:cNvPr>
          <p:cNvGrpSpPr/>
          <p:nvPr/>
        </p:nvGrpSpPr>
        <p:grpSpPr>
          <a:xfrm>
            <a:off x="6226656" y="2045660"/>
            <a:ext cx="406948" cy="515657"/>
            <a:chOff x="7789696" y="1644240"/>
            <a:chExt cx="431444" cy="576000"/>
          </a:xfrm>
        </p:grpSpPr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0C17A7C5-59E1-8246-9117-D209AAAEB0AB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33" name="Grafik 57">
              <a:extLst>
                <a:ext uri="{FF2B5EF4-FFF2-40B4-BE49-F238E27FC236}">
                  <a16:creationId xmlns:a16="http://schemas.microsoft.com/office/drawing/2014/main" id="{3C56EA6D-3488-9049-9983-325639B6A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4" name="Rechteck: abgerundete Ecken 25">
            <a:extLst>
              <a:ext uri="{FF2B5EF4-FFF2-40B4-BE49-F238E27FC236}">
                <a16:creationId xmlns:a16="http://schemas.microsoft.com/office/drawing/2014/main" id="{FACADB57-F160-E24A-8517-120F769550DC}"/>
              </a:ext>
            </a:extLst>
          </p:cNvPr>
          <p:cNvSpPr/>
          <p:nvPr/>
        </p:nvSpPr>
        <p:spPr>
          <a:xfrm>
            <a:off x="3158291" y="3031473"/>
            <a:ext cx="967838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35" name="Rechteck: abgerundete Ecken 25">
            <a:extLst>
              <a:ext uri="{FF2B5EF4-FFF2-40B4-BE49-F238E27FC236}">
                <a16:creationId xmlns:a16="http://schemas.microsoft.com/office/drawing/2014/main" id="{DBE1E884-1B58-9149-943F-3CB72DCC6489}"/>
              </a:ext>
            </a:extLst>
          </p:cNvPr>
          <p:cNvSpPr/>
          <p:nvPr/>
        </p:nvSpPr>
        <p:spPr>
          <a:xfrm>
            <a:off x="2402730" y="3438185"/>
            <a:ext cx="723686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8F3AD8-6514-374E-923C-8F625C760870}"/>
              </a:ext>
            </a:extLst>
          </p:cNvPr>
          <p:cNvSpPr/>
          <p:nvPr/>
        </p:nvSpPr>
        <p:spPr>
          <a:xfrm>
            <a:off x="7483373" y="1287628"/>
            <a:ext cx="4132732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for tabular data, and has over 800 functions built in.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C6DCA11-DA0F-2C43-9EB1-CF7D0FC0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ovides Highest Code Performance and Efficiency 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one solve complex problems with clear, simple, minimal code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 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a rich library to create Excel and HTML files with rich formatting, </a:t>
            </a:r>
            <a:r>
              <a:rPr lang="en-US" sz="1200" dirty="0" err="1">
                <a:solidFill>
                  <a:schemeClr val="tx1"/>
                </a:solidFill>
              </a:rPr>
              <a:t>autofilters</a:t>
            </a:r>
            <a:r>
              <a:rPr lang="en-US" sz="1200" dirty="0">
                <a:solidFill>
                  <a:schemeClr val="tx1"/>
                </a:solidFill>
              </a:rPr>
              <a:t>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programs run under Windows, LINUX and MacOS (incl. </a:t>
            </a:r>
            <a:r>
              <a:rPr lang="en-US" sz="1200" dirty="0" err="1">
                <a:solidFill>
                  <a:schemeClr val="tx1"/>
                </a:solidFill>
              </a:rPr>
              <a:t>M1</a:t>
            </a:r>
            <a:r>
              <a:rPr lang="en-US" sz="1200" dirty="0">
                <a:solidFill>
                  <a:schemeClr val="tx1"/>
                </a:solidFill>
              </a:rPr>
              <a:t>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8FEBDCF-208D-B947-94C3-53AF15BA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Key Feature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061000"/>
            <a:ext cx="11232000" cy="2088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Examples</a:t>
            </a:r>
            <a:endParaRPr lang="de-CH" sz="5400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309</TotalTime>
  <Words>7108</Words>
  <Application>Microsoft Macintosh PowerPoint</Application>
  <PresentationFormat>Widescreen</PresentationFormat>
  <Paragraphs>1314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 B4P Data Integration and Analytics Engine Overview</vt:lpstr>
      <vt:lpstr>Table of Contents</vt:lpstr>
      <vt:lpstr>Problem Statement Current methods of analytics automation are complex, expensive, and opaque</vt:lpstr>
      <vt:lpstr>B4P Low-Code Integration and Analytics Engine Solution Overview</vt:lpstr>
      <vt:lpstr>B4P Low-Code Integration and Analytics Engine Main Components</vt:lpstr>
      <vt:lpstr>B4P Language Provides Highest Code Performance and Efficiency </vt:lpstr>
      <vt:lpstr>B4P Language Key Features</vt:lpstr>
      <vt:lpstr>B4P  Examples</vt:lpstr>
      <vt:lpstr>B4P Example #1 Merging Two Soccer Clubs</vt:lpstr>
      <vt:lpstr>PowerPoint Presentation</vt:lpstr>
      <vt:lpstr>PowerPoint Presentation</vt:lpstr>
      <vt:lpstr>B4P Example #2 Combine Online Stock Data: SP 500 and NASDAQ 100</vt:lpstr>
      <vt:lpstr>B4P Example #2 Combining Stock Data: SP 500 and NASDAQ 100</vt:lpstr>
      <vt:lpstr>B4P Example #3 Analyzing all Presidents in Wikipedia</vt:lpstr>
      <vt:lpstr>PowerPoint Presentation</vt:lpstr>
      <vt:lpstr>B4P  Real-World  Use Cases</vt:lpstr>
      <vt:lpstr>B4P Real-world Use Case #1 Integrating Corporate data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 Beyond Former Performance.</vt:lpstr>
      <vt:lpstr>B4P Solution Supported Data Formats</vt:lpstr>
      <vt:lpstr>Problem Statement Manual data integration and analysis is labor-intensive and error-prone</vt:lpstr>
      <vt:lpstr>PowerPoint Presentation</vt:lpstr>
      <vt:lpstr>B4P Use Case Automatic documentation generation for website www.b4p.app</vt:lpstr>
      <vt:lpstr>B4P Use Case Automatic Document Generation for www.b4p.app using B4P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Overview  The B4P Data Integration and Analytics Engine</vt:lpstr>
      <vt:lpstr>Overview  The B4P Data Integration and Analytics Engine</vt:lpstr>
      <vt:lpstr>B4P 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458</cp:revision>
  <cp:lastPrinted>2012-05-04T14:30:29Z</cp:lastPrinted>
  <dcterms:created xsi:type="dcterms:W3CDTF">2016-02-06T20:40:56Z</dcterms:created>
  <dcterms:modified xsi:type="dcterms:W3CDTF">2021-05-29T23:18:11Z</dcterms:modified>
</cp:coreProperties>
</file>